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  <p:sldMasterId id="2147483674" r:id="rId3"/>
    <p:sldMasterId id="2147483687" r:id="rId4"/>
    <p:sldMasterId id="2147483700" r:id="rId5"/>
  </p:sldMasterIdLst>
  <p:notesMasterIdLst>
    <p:notesMasterId r:id="rId10"/>
  </p:notesMasterIdLst>
  <p:sldIdLst>
    <p:sldId id="467" r:id="rId6"/>
    <p:sldId id="469" r:id="rId7"/>
    <p:sldId id="470" r:id="rId8"/>
    <p:sldId id="471" r:id="rId9"/>
  </p:sldIdLst>
  <p:sldSz cx="9906000" cy="6858000" type="A4"/>
  <p:notesSz cx="6797675" cy="9928225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5003D"/>
    <a:srgbClr val="008000"/>
    <a:srgbClr val="FFFF66"/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5909" autoAdjust="0"/>
  </p:normalViewPr>
  <p:slideViewPr>
    <p:cSldViewPr showGuides="1">
      <p:cViewPr varScale="1">
        <p:scale>
          <a:sx n="109" d="100"/>
          <a:sy n="109" d="100"/>
        </p:scale>
        <p:origin x="1314" y="108"/>
      </p:cViewPr>
      <p:guideLst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3B71596-46AB-40C8-9A29-D2F21EFF2E9A}" type="datetimeFigureOut">
              <a:rPr lang="ko-KR" altLang="en-US" smtClean="0"/>
              <a:t>2023-02-10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752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3D15BB-4CCE-4535-8E47-8B4BAAB5B84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971680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1F5637-092B-4B8C-8980-6605B04AD98F}" type="datetimeFigureOut">
              <a:rPr lang="ko-KR" altLang="en-US" smtClean="0"/>
              <a:t>2023-02-10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ADE249-6956-42AE-99E2-EA44014FF2C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282178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1F5637-092B-4B8C-8980-6605B04AD98F}" type="datetimeFigureOut">
              <a:rPr lang="ko-KR" altLang="en-US" smtClean="0"/>
              <a:t>2023-02-10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ADE249-6956-42AE-99E2-EA44014FF2C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262221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780337" y="274639"/>
            <a:ext cx="2414588" cy="58515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536575" y="274639"/>
            <a:ext cx="7078663" cy="58515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1F5637-092B-4B8C-8980-6605B04AD98F}" type="datetimeFigureOut">
              <a:rPr lang="ko-KR" altLang="en-US" smtClean="0"/>
              <a:t>2023-02-10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ADE249-6956-42AE-99E2-EA44014FF2C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082234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40EBA5-FE13-44C9-BA3E-F26981E3CA1B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2-10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B0D99-11FC-4E7A-B7D2-D90888C868FC}" type="slidenum">
              <a:rPr lang="ko-KR" altLang="en-US" smtClean="0">
                <a:solidFill>
                  <a:prstClr val="black"/>
                </a:solidFill>
              </a:rPr>
              <a:pPr/>
              <a:t>‹#›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45595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72480" y="908721"/>
            <a:ext cx="8915400" cy="5217443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1"/>
            </a:lvl1pPr>
            <a:lvl2pPr marL="457200" indent="0">
              <a:buFontTx/>
              <a:buNone/>
              <a:defRPr sz="1600" b="1"/>
            </a:lvl2pPr>
            <a:lvl3pPr marL="914400" indent="0">
              <a:buFontTx/>
              <a:buNone/>
              <a:defRPr sz="1400" b="1"/>
            </a:lvl3pPr>
            <a:lvl4pPr marL="1371600" indent="0">
              <a:buFontTx/>
              <a:buNone/>
              <a:defRPr sz="1200" b="1"/>
            </a:lvl4pPr>
            <a:lvl5pPr marL="1828800" indent="0">
              <a:buFontTx/>
              <a:buNone/>
              <a:defRPr sz="1200" b="1"/>
            </a:lvl5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476B9F-638A-4829-A6B9-704166DF28B2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2-10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B0D99-11FC-4E7A-B7D2-D90888C868FC}" type="slidenum">
              <a:rPr lang="ko-KR" altLang="en-US" smtClean="0">
                <a:solidFill>
                  <a:prstClr val="black"/>
                </a:solidFill>
              </a:rPr>
              <a:pPr/>
              <a:t>‹#›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46331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791C62-0393-431E-A0FB-5222E90170DC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2-10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B0D99-11FC-4E7A-B7D2-D90888C868FC}" type="slidenum">
              <a:rPr lang="ko-KR" altLang="en-US" smtClean="0">
                <a:solidFill>
                  <a:prstClr val="black"/>
                </a:solidFill>
              </a:rPr>
              <a:pPr/>
              <a:t>‹#›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31420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95300" y="1600201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35550" y="1600201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97225C-9FF3-43D0-AB76-194F99DD11DA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2-10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B0D99-11FC-4E7A-B7D2-D90888C868FC}" type="slidenum">
              <a:rPr lang="ko-KR" altLang="en-US" smtClean="0">
                <a:solidFill>
                  <a:prstClr val="black"/>
                </a:solidFill>
              </a:rPr>
              <a:pPr/>
              <a:t>‹#›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269058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FBB79A-21A9-4824-8C6A-89530B65607E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2-10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B0D99-11FC-4E7A-B7D2-D90888C868FC}" type="slidenum">
              <a:rPr lang="ko-KR" altLang="en-US" smtClean="0">
                <a:solidFill>
                  <a:prstClr val="black"/>
                </a:solidFill>
              </a:rPr>
              <a:pPr/>
              <a:t>‹#›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25777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C2DEFC-0749-4328-93B5-A35D6E131F57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2-10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B0D99-11FC-4E7A-B7D2-D90888C868FC}" type="slidenum">
              <a:rPr lang="ko-KR" altLang="en-US" smtClean="0">
                <a:solidFill>
                  <a:prstClr val="black"/>
                </a:solidFill>
              </a:rPr>
              <a:pPr/>
              <a:t>‹#›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39977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93D6D6-B5AA-4F19-B763-947BDC78FE06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2-10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B0D99-11FC-4E7A-B7D2-D90888C868FC}" type="slidenum">
              <a:rPr lang="ko-KR" altLang="en-US" smtClean="0">
                <a:solidFill>
                  <a:prstClr val="black"/>
                </a:solidFill>
              </a:rPr>
              <a:pPr/>
              <a:t>‹#›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24362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3377FC-7571-4660-AB12-B2C5610AADFB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2-10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B0D99-11FC-4E7A-B7D2-D90888C868FC}" type="slidenum">
              <a:rPr lang="ko-KR" altLang="en-US" smtClean="0">
                <a:solidFill>
                  <a:prstClr val="black"/>
                </a:solidFill>
              </a:rPr>
              <a:pPr/>
              <a:t>‹#›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94954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1F5637-092B-4B8C-8980-6605B04AD98F}" type="datetimeFigureOut">
              <a:rPr lang="ko-KR" altLang="en-US" smtClean="0"/>
              <a:t>2023-02-10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ADE249-6956-42AE-99E2-EA44014FF2C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7683719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286710-B714-4EFC-8E30-E07FBE9A594C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2-10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B0D99-11FC-4E7A-B7D2-D90888C868FC}" type="slidenum">
              <a:rPr lang="ko-KR" altLang="en-US" smtClean="0">
                <a:solidFill>
                  <a:prstClr val="black"/>
                </a:solidFill>
              </a:rPr>
              <a:pPr/>
              <a:t>‹#›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087008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842E1B-9FFF-4712-889B-77C536FC8179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2-10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B0D99-11FC-4E7A-B7D2-D90888C868FC}" type="slidenum">
              <a:rPr lang="ko-KR" altLang="en-US" smtClean="0">
                <a:solidFill>
                  <a:prstClr val="black"/>
                </a:solidFill>
              </a:rPr>
              <a:pPr/>
              <a:t>‹#›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687908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81850" y="274639"/>
            <a:ext cx="2228850" cy="58515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274639"/>
            <a:ext cx="6521450" cy="58515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385720-98A3-4E14-9F50-A37DA95CF6A0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2-10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B0D99-11FC-4E7A-B7D2-D90888C868FC}" type="slidenum">
              <a:rPr lang="ko-KR" altLang="en-US" smtClean="0">
                <a:solidFill>
                  <a:prstClr val="black"/>
                </a:solidFill>
              </a:rPr>
              <a:pPr/>
              <a:t>‹#›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630710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905271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25"/>
            <a:ext cx="8420100" cy="14700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8F3D20-F019-43EC-8A3B-78853FF34273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2-10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30CFF-48B0-4EB4-9A9E-42B1FB3C9BC8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65666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6C1005-5784-40AD-9606-F62401A4A559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2-10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30CFF-48B0-4EB4-9A9E-42B1FB3C9BC8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내용 개체 틀 2"/>
          <p:cNvSpPr>
            <a:spLocks noGrp="1"/>
          </p:cNvSpPr>
          <p:nvPr>
            <p:ph idx="1"/>
          </p:nvPr>
        </p:nvSpPr>
        <p:spPr>
          <a:xfrm>
            <a:off x="272480" y="764704"/>
            <a:ext cx="8915400" cy="5217443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1"/>
            </a:lvl1pPr>
            <a:lvl2pPr marL="457200" indent="0">
              <a:buFontTx/>
              <a:buNone/>
              <a:defRPr sz="1600" b="1"/>
            </a:lvl2pPr>
            <a:lvl3pPr marL="914400" indent="0">
              <a:buFontTx/>
              <a:buNone/>
              <a:defRPr sz="1400" b="1"/>
            </a:lvl3pPr>
            <a:lvl4pPr marL="1371600" indent="0">
              <a:buFontTx/>
              <a:buNone/>
              <a:defRPr sz="1200" b="1"/>
            </a:lvl4pPr>
            <a:lvl5pPr marL="1828800" indent="0">
              <a:buFontTx/>
              <a:buNone/>
              <a:defRPr sz="1200" b="1"/>
            </a:lvl5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81404235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0978DE-BA79-4A2E-8333-4DE34E0A18F6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2-10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30CFF-48B0-4EB4-9A9E-42B1FB3C9BC8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390990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20550B-90DE-450D-B51A-A5F37B19B3AB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2-10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30CFF-48B0-4EB4-9A9E-42B1FB3C9BC8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96949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8A1BC5-8A40-45AA-B8BB-A473092DA169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2-10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30CFF-48B0-4EB4-9A9E-42B1FB3C9BC8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241726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9252BB-B666-43DA-9877-9168060C13A9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2-10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30CFF-48B0-4EB4-9A9E-42B1FB3C9BC8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52981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1F5637-092B-4B8C-8980-6605B04AD98F}" type="datetimeFigureOut">
              <a:rPr lang="ko-KR" altLang="en-US" smtClean="0"/>
              <a:t>2023-02-10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ADE249-6956-42AE-99E2-EA44014FF2C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596471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208D0D-8B49-4879-97FE-3256FB6AF447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2-10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30CFF-48B0-4EB4-9A9E-42B1FB3C9BC8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821406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750948-4F6D-4D44-8E5D-F1A707B8C015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2-10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30CFF-48B0-4EB4-9A9E-42B1FB3C9BC8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693059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079D3B-ACE5-4D83-8455-64CB01C3C77A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2-10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30CFF-48B0-4EB4-9A9E-42B1FB3C9BC8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65676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835939-35E2-437F-9E1B-B801081C5FE8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2-10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30CFF-48B0-4EB4-9A9E-42B1FB3C9BC8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617126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81850" y="274638"/>
            <a:ext cx="2228850" cy="58515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274638"/>
            <a:ext cx="6534150" cy="58515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CEEA2F-1203-44CA-800D-ED3D7C71D5A3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2-10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30CFF-48B0-4EB4-9A9E-42B1FB3C9BC8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612603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278658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25"/>
            <a:ext cx="8420100" cy="14700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8F3D20-F019-43EC-8A3B-78853FF34273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2-10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30CFF-48B0-4EB4-9A9E-42B1FB3C9BC8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95830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6C1005-5784-40AD-9606-F62401A4A559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2-10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30CFF-48B0-4EB4-9A9E-42B1FB3C9BC8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내용 개체 틀 2"/>
          <p:cNvSpPr>
            <a:spLocks noGrp="1"/>
          </p:cNvSpPr>
          <p:nvPr>
            <p:ph idx="1"/>
          </p:nvPr>
        </p:nvSpPr>
        <p:spPr>
          <a:xfrm>
            <a:off x="272480" y="764704"/>
            <a:ext cx="8915400" cy="5217443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1"/>
            </a:lvl1pPr>
            <a:lvl2pPr marL="457200" indent="0">
              <a:buFontTx/>
              <a:buNone/>
              <a:defRPr sz="1600" b="1"/>
            </a:lvl2pPr>
            <a:lvl3pPr marL="914400" indent="0">
              <a:buFontTx/>
              <a:buNone/>
              <a:defRPr sz="1400" b="1"/>
            </a:lvl3pPr>
            <a:lvl4pPr marL="1371600" indent="0">
              <a:buFontTx/>
              <a:buNone/>
              <a:defRPr sz="1200" b="1"/>
            </a:lvl4pPr>
            <a:lvl5pPr marL="1828800" indent="0">
              <a:buFontTx/>
              <a:buNone/>
              <a:defRPr sz="1200" b="1"/>
            </a:lvl5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62009647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0978DE-BA79-4A2E-8333-4DE34E0A18F6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2-10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30CFF-48B0-4EB4-9A9E-42B1FB3C9BC8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718848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20550B-90DE-450D-B51A-A5F37B19B3AB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2-10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30CFF-48B0-4EB4-9A9E-42B1FB3C9BC8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80291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536575" y="1600201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448300" y="1600201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1F5637-092B-4B8C-8980-6605B04AD98F}" type="datetimeFigureOut">
              <a:rPr lang="ko-KR" altLang="en-US" smtClean="0"/>
              <a:t>2023-02-10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ADE249-6956-42AE-99E2-EA44014FF2C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6979103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8A1BC5-8A40-45AA-B8BB-A473092DA169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2-10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30CFF-48B0-4EB4-9A9E-42B1FB3C9BC8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748337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9252BB-B666-43DA-9877-9168060C13A9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2-10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30CFF-48B0-4EB4-9A9E-42B1FB3C9BC8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24865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208D0D-8B49-4879-97FE-3256FB6AF447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2-10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30CFF-48B0-4EB4-9A9E-42B1FB3C9BC8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851073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750948-4F6D-4D44-8E5D-F1A707B8C015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2-10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30CFF-48B0-4EB4-9A9E-42B1FB3C9BC8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934136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079D3B-ACE5-4D83-8455-64CB01C3C77A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2-10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30CFF-48B0-4EB4-9A9E-42B1FB3C9BC8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248118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835939-35E2-437F-9E1B-B801081C5FE8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2-10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30CFF-48B0-4EB4-9A9E-42B1FB3C9BC8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922007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81850" y="274638"/>
            <a:ext cx="2228850" cy="58515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274638"/>
            <a:ext cx="6534150" cy="58515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CEEA2F-1203-44CA-800D-ED3D7C71D5A3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2-10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30CFF-48B0-4EB4-9A9E-42B1FB3C9BC8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710093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85484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25"/>
            <a:ext cx="8420100" cy="14700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8F3D20-F019-43EC-8A3B-78853FF34273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2-10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30CFF-48B0-4EB4-9A9E-42B1FB3C9BC8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143438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6C1005-5784-40AD-9606-F62401A4A559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2-10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30CFF-48B0-4EB4-9A9E-42B1FB3C9BC8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내용 개체 틀 2"/>
          <p:cNvSpPr>
            <a:spLocks noGrp="1"/>
          </p:cNvSpPr>
          <p:nvPr>
            <p:ph idx="1"/>
          </p:nvPr>
        </p:nvSpPr>
        <p:spPr>
          <a:xfrm>
            <a:off x="272480" y="764704"/>
            <a:ext cx="8915400" cy="5217443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1"/>
            </a:lvl1pPr>
            <a:lvl2pPr marL="457200" indent="0">
              <a:buFontTx/>
              <a:buNone/>
              <a:defRPr sz="1600" b="1"/>
            </a:lvl2pPr>
            <a:lvl3pPr marL="914400" indent="0">
              <a:buFontTx/>
              <a:buNone/>
              <a:defRPr sz="1400" b="1"/>
            </a:lvl3pPr>
            <a:lvl4pPr marL="1371600" indent="0">
              <a:buFontTx/>
              <a:buNone/>
              <a:defRPr sz="1200" b="1"/>
            </a:lvl4pPr>
            <a:lvl5pPr marL="1828800" indent="0">
              <a:buFontTx/>
              <a:buNone/>
              <a:defRPr sz="1200" b="1"/>
            </a:lvl5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7292136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1F5637-092B-4B8C-8980-6605B04AD98F}" type="datetimeFigureOut">
              <a:rPr lang="ko-KR" altLang="en-US" smtClean="0"/>
              <a:t>2023-02-10</a:t>
            </a:fld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ADE249-6956-42AE-99E2-EA44014FF2C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2134928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0978DE-BA79-4A2E-8333-4DE34E0A18F6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2-10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30CFF-48B0-4EB4-9A9E-42B1FB3C9BC8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331957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20550B-90DE-450D-B51A-A5F37B19B3AB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2-10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30CFF-48B0-4EB4-9A9E-42B1FB3C9BC8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063005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8A1BC5-8A40-45AA-B8BB-A473092DA169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2-10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30CFF-48B0-4EB4-9A9E-42B1FB3C9BC8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427465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9252BB-B666-43DA-9877-9168060C13A9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2-10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30CFF-48B0-4EB4-9A9E-42B1FB3C9BC8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372455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208D0D-8B49-4879-97FE-3256FB6AF447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2-10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30CFF-48B0-4EB4-9A9E-42B1FB3C9BC8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704879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750948-4F6D-4D44-8E5D-F1A707B8C015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2-10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30CFF-48B0-4EB4-9A9E-42B1FB3C9BC8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860170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079D3B-ACE5-4D83-8455-64CB01C3C77A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2-10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30CFF-48B0-4EB4-9A9E-42B1FB3C9BC8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400336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835939-35E2-437F-9E1B-B801081C5FE8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2-10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30CFF-48B0-4EB4-9A9E-42B1FB3C9BC8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569449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81850" y="274638"/>
            <a:ext cx="2228850" cy="58515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274638"/>
            <a:ext cx="6534150" cy="58515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CEEA2F-1203-44CA-800D-ED3D7C71D5A3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2-10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30CFF-48B0-4EB4-9A9E-42B1FB3C9BC8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961835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252961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1F5637-092B-4B8C-8980-6605B04AD98F}" type="datetimeFigureOut">
              <a:rPr lang="ko-KR" altLang="en-US" smtClean="0"/>
              <a:t>2023-02-10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ADE249-6956-42AE-99E2-EA44014FF2C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336862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1F5637-092B-4B8C-8980-6605B04AD98F}" type="datetimeFigureOut">
              <a:rPr lang="ko-KR" altLang="en-US" smtClean="0"/>
              <a:t>2023-02-10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ADE249-6956-42AE-99E2-EA44014FF2C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434311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1F5637-092B-4B8C-8980-6605B04AD98F}" type="datetimeFigureOut">
              <a:rPr lang="ko-KR" altLang="en-US" smtClean="0"/>
              <a:t>2023-02-10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ADE249-6956-42AE-99E2-EA44014FF2C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224797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1F5637-092B-4B8C-8980-6605B04AD98F}" type="datetimeFigureOut">
              <a:rPr lang="ko-KR" altLang="en-US" smtClean="0"/>
              <a:t>2023-02-10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ADE249-6956-42AE-99E2-EA44014FF2C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911967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600201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31F5637-092B-4B8C-8980-6605B04AD98F}" type="datetimeFigureOut">
              <a:rPr lang="ko-KR" altLang="en-US" smtClean="0"/>
              <a:t>2023-02-10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ADE249-6956-42AE-99E2-EA44014FF2C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938414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95300" y="188640"/>
            <a:ext cx="6173891" cy="4900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908721"/>
            <a:ext cx="8915400" cy="521744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2D1997-3AD7-4E9F-ADC5-13F2CB350290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2-10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LG스마트체 Regular" pitchFamily="50" charset="-127"/>
                <a:ea typeface="LG스마트체 Regular" pitchFamily="50" charset="-127"/>
              </a:defRPr>
            </a:lvl1pPr>
          </a:lstStyle>
          <a:p>
            <a:fld id="{44AB0D99-11FC-4E7A-B7D2-D90888C868FC}" type="slidenum">
              <a:rPr lang="ko-KR" altLang="en-US" smtClean="0">
                <a:solidFill>
                  <a:prstClr val="black"/>
                </a:solidFill>
              </a:rPr>
              <a:pPr/>
              <a:t>‹#›</a:t>
            </a:fld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7" name="직사각형 6"/>
          <p:cNvSpPr/>
          <p:nvPr userDrawn="1"/>
        </p:nvSpPr>
        <p:spPr>
          <a:xfrm>
            <a:off x="194471" y="678707"/>
            <a:ext cx="6084676" cy="45719"/>
          </a:xfrm>
          <a:prstGeom prst="rect">
            <a:avLst/>
          </a:prstGeom>
          <a:solidFill>
            <a:srgbClr val="C500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8" name="직사각형 7"/>
          <p:cNvSpPr/>
          <p:nvPr userDrawn="1"/>
        </p:nvSpPr>
        <p:spPr>
          <a:xfrm>
            <a:off x="490195" y="720571"/>
            <a:ext cx="6084676" cy="45719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88929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1" hangingPunct="1">
        <a:spcBef>
          <a:spcPct val="0"/>
        </a:spcBef>
        <a:buNone/>
        <a:defRPr sz="2800" b="1" kern="1200">
          <a:solidFill>
            <a:schemeClr val="tx1"/>
          </a:solidFill>
          <a:latin typeface="LG스마트체 Regular" pitchFamily="50" charset="-127"/>
          <a:ea typeface="LG스마트체 Regular" pitchFamily="50" charset="-127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LG스마트체 Regular" pitchFamily="50" charset="-127"/>
          <a:ea typeface="LG스마트체 Regular" pitchFamily="50" charset="-127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LG스마트체 Regular" pitchFamily="50" charset="-127"/>
          <a:ea typeface="LG스마트체 Regular" pitchFamily="50" charset="-127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LG스마트체 Regular" pitchFamily="50" charset="-127"/>
          <a:ea typeface="LG스마트체 Regular" pitchFamily="50" charset="-127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LG스마트체 Regular" pitchFamily="50" charset="-127"/>
          <a:ea typeface="LG스마트체 Regular" pitchFamily="50" charset="-127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LG스마트체 Regular" pitchFamily="50" charset="-127"/>
          <a:ea typeface="LG스마트체 Regular" pitchFamily="50" charset="-127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272480" y="116632"/>
            <a:ext cx="4680520" cy="5040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LG스마트체 Regular" pitchFamily="50" charset="-127"/>
                <a:ea typeface="LG스마트체 Regular" pitchFamily="50" charset="-127"/>
              </a:defRPr>
            </a:lvl1pPr>
          </a:lstStyle>
          <a:p>
            <a:fld id="{B6C31DAF-49AC-4ED0-8552-D60D71C44C4B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2-10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LG스마트체 Regular" pitchFamily="50" charset="-127"/>
                <a:ea typeface="LG스마트체 Regular" pitchFamily="50" charset="-127"/>
              </a:defRPr>
            </a:lvl1pPr>
          </a:lstStyle>
          <a:p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LG스마트체 Regular" pitchFamily="50" charset="-127"/>
                <a:ea typeface="LG스마트체 Regular" pitchFamily="50" charset="-127"/>
              </a:defRPr>
            </a:lvl1pPr>
          </a:lstStyle>
          <a:p>
            <a:fld id="{7CD30CFF-48B0-4EB4-9A9E-42B1FB3C9BC8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8" name="직선 연결선 7"/>
          <p:cNvCxnSpPr/>
          <p:nvPr userDrawn="1"/>
        </p:nvCxnSpPr>
        <p:spPr>
          <a:xfrm>
            <a:off x="0" y="620688"/>
            <a:ext cx="10065568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67075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</p:sldLayoutIdLst>
  <p:hf hdr="0" ftr="0" dt="0"/>
  <p:txStyles>
    <p:titleStyle>
      <a:lvl1pPr algn="l" defTabSz="914400" rtl="0" eaLnBrk="1" latinLnBrk="1" hangingPunct="1">
        <a:spcBef>
          <a:spcPct val="0"/>
        </a:spcBef>
        <a:buNone/>
        <a:defRPr sz="2000" b="1" kern="1200">
          <a:solidFill>
            <a:schemeClr val="tx1"/>
          </a:solidFill>
          <a:latin typeface="LG스마트체 Regular" pitchFamily="50" charset="-127"/>
          <a:ea typeface="LG스마트체 Regular" pitchFamily="50" charset="-127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LG스마트체 Regular" pitchFamily="50" charset="-127"/>
          <a:ea typeface="LG스마트체 Regular" pitchFamily="50" charset="-127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LG스마트체 Regular" pitchFamily="50" charset="-127"/>
          <a:ea typeface="LG스마트체 Regular" pitchFamily="50" charset="-127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LG스마트체 Regular" pitchFamily="50" charset="-127"/>
          <a:ea typeface="LG스마트체 Regular" pitchFamily="50" charset="-127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LG스마트체 Regular" pitchFamily="50" charset="-127"/>
          <a:ea typeface="LG스마트체 Regular" pitchFamily="50" charset="-127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LG스마트체 Regular" pitchFamily="50" charset="-127"/>
          <a:ea typeface="LG스마트체 Regular" pitchFamily="50" charset="-127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272480" y="116632"/>
            <a:ext cx="4680520" cy="5040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LG스마트체 Regular" pitchFamily="50" charset="-127"/>
                <a:ea typeface="LG스마트체 Regular" pitchFamily="50" charset="-127"/>
              </a:defRPr>
            </a:lvl1pPr>
          </a:lstStyle>
          <a:p>
            <a:fld id="{B6C31DAF-49AC-4ED0-8552-D60D71C44C4B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2-10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LG스마트체 Regular" pitchFamily="50" charset="-127"/>
                <a:ea typeface="LG스마트체 Regular" pitchFamily="50" charset="-127"/>
              </a:defRPr>
            </a:lvl1pPr>
          </a:lstStyle>
          <a:p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LG스마트체 Regular" pitchFamily="50" charset="-127"/>
                <a:ea typeface="LG스마트체 Regular" pitchFamily="50" charset="-127"/>
              </a:defRPr>
            </a:lvl1pPr>
          </a:lstStyle>
          <a:p>
            <a:fld id="{7CD30CFF-48B0-4EB4-9A9E-42B1FB3C9BC8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8" name="직선 연결선 7"/>
          <p:cNvCxnSpPr/>
          <p:nvPr userDrawn="1"/>
        </p:nvCxnSpPr>
        <p:spPr>
          <a:xfrm>
            <a:off x="0" y="620688"/>
            <a:ext cx="10065568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690774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</p:sldLayoutIdLst>
  <p:hf hdr="0" ftr="0" dt="0"/>
  <p:txStyles>
    <p:titleStyle>
      <a:lvl1pPr algn="l" defTabSz="914400" rtl="0" eaLnBrk="1" latinLnBrk="1" hangingPunct="1">
        <a:spcBef>
          <a:spcPct val="0"/>
        </a:spcBef>
        <a:buNone/>
        <a:defRPr sz="2000" b="1" kern="1200">
          <a:solidFill>
            <a:schemeClr val="tx1"/>
          </a:solidFill>
          <a:latin typeface="LG스마트체 Regular" pitchFamily="50" charset="-127"/>
          <a:ea typeface="LG스마트체 Regular" pitchFamily="50" charset="-127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LG스마트체 Regular" pitchFamily="50" charset="-127"/>
          <a:ea typeface="LG스마트체 Regular" pitchFamily="50" charset="-127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LG스마트체 Regular" pitchFamily="50" charset="-127"/>
          <a:ea typeface="LG스마트체 Regular" pitchFamily="50" charset="-127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LG스마트체 Regular" pitchFamily="50" charset="-127"/>
          <a:ea typeface="LG스마트체 Regular" pitchFamily="50" charset="-127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LG스마트체 Regular" pitchFamily="50" charset="-127"/>
          <a:ea typeface="LG스마트체 Regular" pitchFamily="50" charset="-127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LG스마트체 Regular" pitchFamily="50" charset="-127"/>
          <a:ea typeface="LG스마트체 Regular" pitchFamily="50" charset="-127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272480" y="116632"/>
            <a:ext cx="4680520" cy="5040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LG스마트체 Regular" pitchFamily="50" charset="-127"/>
                <a:ea typeface="LG스마트체 Regular" pitchFamily="50" charset="-127"/>
              </a:defRPr>
            </a:lvl1pPr>
          </a:lstStyle>
          <a:p>
            <a:fld id="{B6C31DAF-49AC-4ED0-8552-D60D71C44C4B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2-10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LG스마트체 Regular" pitchFamily="50" charset="-127"/>
                <a:ea typeface="LG스마트체 Regular" pitchFamily="50" charset="-127"/>
              </a:defRPr>
            </a:lvl1pPr>
          </a:lstStyle>
          <a:p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LG스마트체 Regular" pitchFamily="50" charset="-127"/>
                <a:ea typeface="LG스마트체 Regular" pitchFamily="50" charset="-127"/>
              </a:defRPr>
            </a:lvl1pPr>
          </a:lstStyle>
          <a:p>
            <a:fld id="{7CD30CFF-48B0-4EB4-9A9E-42B1FB3C9BC8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8" name="직선 연결선 7"/>
          <p:cNvCxnSpPr/>
          <p:nvPr userDrawn="1"/>
        </p:nvCxnSpPr>
        <p:spPr>
          <a:xfrm>
            <a:off x="0" y="620688"/>
            <a:ext cx="10065568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9059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</p:sldLayoutIdLst>
  <p:hf hdr="0" ftr="0" dt="0"/>
  <p:txStyles>
    <p:titleStyle>
      <a:lvl1pPr algn="l" defTabSz="914400" rtl="0" eaLnBrk="1" latinLnBrk="1" hangingPunct="1">
        <a:spcBef>
          <a:spcPct val="0"/>
        </a:spcBef>
        <a:buNone/>
        <a:defRPr sz="2000" b="1" kern="1200">
          <a:solidFill>
            <a:schemeClr val="tx1"/>
          </a:solidFill>
          <a:latin typeface="LG스마트체 Regular" pitchFamily="50" charset="-127"/>
          <a:ea typeface="LG스마트체 Regular" pitchFamily="50" charset="-127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LG스마트체 Regular" pitchFamily="50" charset="-127"/>
          <a:ea typeface="LG스마트체 Regular" pitchFamily="50" charset="-127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LG스마트체 Regular" pitchFamily="50" charset="-127"/>
          <a:ea typeface="LG스마트체 Regular" pitchFamily="50" charset="-127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LG스마트체 Regular" pitchFamily="50" charset="-127"/>
          <a:ea typeface="LG스마트체 Regular" pitchFamily="50" charset="-127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LG스마트체 Regular" pitchFamily="50" charset="-127"/>
          <a:ea typeface="LG스마트체 Regular" pitchFamily="50" charset="-127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LG스마트체 Regular" pitchFamily="50" charset="-127"/>
          <a:ea typeface="LG스마트체 Regular" pitchFamily="50" charset="-127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>
          <a:xfrm>
            <a:off x="634431" y="280012"/>
            <a:ext cx="219002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2400" dirty="0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근태시스템 소개</a:t>
            </a:r>
            <a:endParaRPr lang="ko-KR" altLang="en-US" sz="2400" dirty="0">
              <a:solidFill>
                <a:prstClr val="black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" name="Rectangle 9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50927" y="265776"/>
            <a:ext cx="109062" cy="426920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endParaRPr kumimoji="1" lang="ko-KR" altLang="en-US" b="1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pic>
        <p:nvPicPr>
          <p:cNvPr id="4" name="그림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3000" y="1196752"/>
            <a:ext cx="9360000" cy="4259937"/>
          </a:xfrm>
          <a:prstGeom prst="rect">
            <a:avLst/>
          </a:prstGeom>
        </p:spPr>
      </p:pic>
      <p:sp>
        <p:nvSpPr>
          <p:cNvPr id="7" name="모서리가 둥근 직사각형 6"/>
          <p:cNvSpPr/>
          <p:nvPr/>
        </p:nvSpPr>
        <p:spPr>
          <a:xfrm>
            <a:off x="9027782" y="1946506"/>
            <a:ext cx="288032" cy="288032"/>
          </a:xfrm>
          <a:prstGeom prst="roundRect">
            <a:avLst/>
          </a:prstGeom>
          <a:noFill/>
          <a:ln>
            <a:solidFill>
              <a:srgbClr val="C500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9" name="직선 화살표 연결선 8"/>
          <p:cNvCxnSpPr/>
          <p:nvPr/>
        </p:nvCxnSpPr>
        <p:spPr>
          <a:xfrm>
            <a:off x="7545288" y="1196752"/>
            <a:ext cx="1296144" cy="792088"/>
          </a:xfrm>
          <a:prstGeom prst="straightConnector1">
            <a:avLst/>
          </a:prstGeom>
          <a:ln>
            <a:solidFill>
              <a:srgbClr val="C5003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6836898" y="888975"/>
            <a:ext cx="135646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근태입력 시스템</a:t>
            </a:r>
            <a:endParaRPr lang="ko-KR" altLang="en-US" sz="14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2563857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>
          <a:xfrm>
            <a:off x="634431" y="280012"/>
            <a:ext cx="219002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2400" dirty="0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근태시스템 소개</a:t>
            </a:r>
            <a:endParaRPr lang="ko-KR" altLang="en-US" sz="2400" dirty="0">
              <a:solidFill>
                <a:prstClr val="black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" name="Rectangle 9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50927" y="265776"/>
            <a:ext cx="109062" cy="426920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endParaRPr kumimoji="1" lang="ko-KR" altLang="en-US" b="1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3000" y="1147771"/>
            <a:ext cx="9360000" cy="3903298"/>
          </a:xfrm>
          <a:prstGeom prst="rect">
            <a:avLst/>
          </a:prstGeom>
        </p:spPr>
      </p:pic>
      <p:sp>
        <p:nvSpPr>
          <p:cNvPr id="6" name="직사각형 5"/>
          <p:cNvSpPr/>
          <p:nvPr/>
        </p:nvSpPr>
        <p:spPr>
          <a:xfrm>
            <a:off x="2648744" y="3501008"/>
            <a:ext cx="1008112" cy="504056"/>
          </a:xfrm>
          <a:prstGeom prst="rect">
            <a:avLst/>
          </a:prstGeom>
          <a:noFill/>
          <a:ln>
            <a:solidFill>
              <a:srgbClr val="C500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10" name="직선 화살표 연결선 9"/>
          <p:cNvCxnSpPr>
            <a:endCxn id="6" idx="2"/>
          </p:cNvCxnSpPr>
          <p:nvPr/>
        </p:nvCxnSpPr>
        <p:spPr>
          <a:xfrm flipV="1">
            <a:off x="3008784" y="4005064"/>
            <a:ext cx="144016" cy="1458689"/>
          </a:xfrm>
          <a:prstGeom prst="straightConnector1">
            <a:avLst/>
          </a:prstGeom>
          <a:ln>
            <a:solidFill>
              <a:srgbClr val="C5003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2300396" y="5506144"/>
            <a:ext cx="135646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근태입력일 클릭</a:t>
            </a:r>
            <a:endParaRPr lang="ko-KR" altLang="en-US" sz="14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36697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>
          <a:xfrm>
            <a:off x="634431" y="280012"/>
            <a:ext cx="219002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2400" dirty="0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근태시스템 소개</a:t>
            </a:r>
            <a:endParaRPr lang="ko-KR" altLang="en-US" sz="2400" dirty="0">
              <a:solidFill>
                <a:prstClr val="black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" name="Rectangle 9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50927" y="265776"/>
            <a:ext cx="109062" cy="426920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endParaRPr kumimoji="1" lang="ko-KR" altLang="en-US" b="1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3000" y="1147771"/>
            <a:ext cx="9360000" cy="3903298"/>
          </a:xfrm>
          <a:prstGeom prst="rect">
            <a:avLst/>
          </a:prstGeom>
        </p:spPr>
      </p:pic>
      <p:sp>
        <p:nvSpPr>
          <p:cNvPr id="6" name="직사각형 5"/>
          <p:cNvSpPr/>
          <p:nvPr/>
        </p:nvSpPr>
        <p:spPr>
          <a:xfrm>
            <a:off x="2648744" y="3501008"/>
            <a:ext cx="1008112" cy="504056"/>
          </a:xfrm>
          <a:prstGeom prst="rect">
            <a:avLst/>
          </a:prstGeom>
          <a:noFill/>
          <a:ln>
            <a:solidFill>
              <a:srgbClr val="C500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4" name="그림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3000" y="1172944"/>
            <a:ext cx="9360000" cy="3852952"/>
          </a:xfrm>
          <a:prstGeom prst="rect">
            <a:avLst/>
          </a:prstGeom>
        </p:spPr>
      </p:pic>
      <p:cxnSp>
        <p:nvCxnSpPr>
          <p:cNvPr id="10" name="직선 화살표 연결선 9"/>
          <p:cNvCxnSpPr/>
          <p:nvPr/>
        </p:nvCxnSpPr>
        <p:spPr>
          <a:xfrm flipH="1">
            <a:off x="4520952" y="836712"/>
            <a:ext cx="720080" cy="1824008"/>
          </a:xfrm>
          <a:prstGeom prst="straightConnector1">
            <a:avLst/>
          </a:prstGeom>
          <a:ln>
            <a:solidFill>
              <a:srgbClr val="C5003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4069880" y="384919"/>
            <a:ext cx="23423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일반적인 상황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근태시간 입력</a:t>
            </a:r>
            <a:endParaRPr lang="ko-KR" altLang="en-US" sz="14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cxnSp>
        <p:nvCxnSpPr>
          <p:cNvPr id="12" name="직선 화살표 연결선 11"/>
          <p:cNvCxnSpPr/>
          <p:nvPr/>
        </p:nvCxnSpPr>
        <p:spPr>
          <a:xfrm>
            <a:off x="5241032" y="836712"/>
            <a:ext cx="1008112" cy="1824008"/>
          </a:xfrm>
          <a:prstGeom prst="straightConnector1">
            <a:avLst/>
          </a:prstGeom>
          <a:ln>
            <a:solidFill>
              <a:srgbClr val="C5003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1913604" y="5144838"/>
            <a:ext cx="309251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특수 상황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ko-KR" altLang="en-US" sz="140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간편 메뉴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&gt; </a:t>
            </a:r>
            <a:r>
              <a:rPr lang="ko-KR" altLang="en-US" sz="140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휴가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 </a:t>
            </a:r>
            <a:r>
              <a:rPr lang="ko-KR" altLang="en-US" sz="140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부재 신청</a:t>
            </a:r>
            <a:endParaRPr lang="ko-KR" altLang="en-US" sz="14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7" name="직사각형 16"/>
          <p:cNvSpPr/>
          <p:nvPr/>
        </p:nvSpPr>
        <p:spPr>
          <a:xfrm>
            <a:off x="3152800" y="3261567"/>
            <a:ext cx="917080" cy="214268"/>
          </a:xfrm>
          <a:prstGeom prst="rect">
            <a:avLst/>
          </a:prstGeom>
          <a:noFill/>
          <a:ln>
            <a:solidFill>
              <a:srgbClr val="C500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18" name="직선 화살표 연결선 17"/>
          <p:cNvCxnSpPr/>
          <p:nvPr/>
        </p:nvCxnSpPr>
        <p:spPr>
          <a:xfrm flipV="1">
            <a:off x="3152800" y="3501008"/>
            <a:ext cx="504056" cy="1575235"/>
          </a:xfrm>
          <a:prstGeom prst="straightConnector1">
            <a:avLst/>
          </a:prstGeom>
          <a:ln>
            <a:solidFill>
              <a:srgbClr val="C5003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6487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그림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742" y="795985"/>
            <a:ext cx="9777536" cy="3715890"/>
          </a:xfrm>
          <a:prstGeom prst="rect">
            <a:avLst/>
          </a:prstGeom>
        </p:spPr>
      </p:pic>
      <p:sp>
        <p:nvSpPr>
          <p:cNvPr id="2" name="직사각형 1"/>
          <p:cNvSpPr/>
          <p:nvPr/>
        </p:nvSpPr>
        <p:spPr>
          <a:xfrm>
            <a:off x="634431" y="280012"/>
            <a:ext cx="219002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2400" dirty="0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근태시스템 소개</a:t>
            </a:r>
            <a:endParaRPr lang="ko-KR" altLang="en-US" sz="2400" dirty="0">
              <a:solidFill>
                <a:prstClr val="black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" name="Rectangle 9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50927" y="265776"/>
            <a:ext cx="109062" cy="426920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 latinLnBrk="0"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endParaRPr kumimoji="1" lang="ko-KR" altLang="en-US" b="1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73000" y="4860206"/>
            <a:ext cx="628248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공가 신청방법 </a:t>
            </a:r>
            <a:endParaRPr lang="en-US" altLang="ko-KR" sz="14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 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해당날짜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“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휴가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”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클릭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&gt; 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근태유형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기타휴가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&gt; 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근태구분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공가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&gt; 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사유 </a:t>
            </a:r>
            <a:r>
              <a:rPr lang="en-US" altLang="ko-KR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ko-KR" altLang="en-US" sz="14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졸업식 참석</a:t>
            </a:r>
            <a:endParaRPr lang="ko-KR" altLang="en-US" sz="14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0" name="직사각형 19"/>
          <p:cNvSpPr/>
          <p:nvPr/>
        </p:nvSpPr>
        <p:spPr>
          <a:xfrm>
            <a:off x="5529064" y="2657252"/>
            <a:ext cx="607967" cy="247854"/>
          </a:xfrm>
          <a:prstGeom prst="rect">
            <a:avLst/>
          </a:prstGeom>
          <a:noFill/>
          <a:ln>
            <a:solidFill>
              <a:srgbClr val="C500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직사각형 18"/>
          <p:cNvSpPr/>
          <p:nvPr/>
        </p:nvSpPr>
        <p:spPr>
          <a:xfrm>
            <a:off x="146943" y="4005063"/>
            <a:ext cx="5382121" cy="506811"/>
          </a:xfrm>
          <a:prstGeom prst="rect">
            <a:avLst/>
          </a:prstGeom>
          <a:noFill/>
          <a:ln>
            <a:solidFill>
              <a:srgbClr val="C500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TextBox 10"/>
          <p:cNvSpPr txBox="1"/>
          <p:nvPr/>
        </p:nvSpPr>
        <p:spPr>
          <a:xfrm>
            <a:off x="5241032" y="2314532"/>
            <a:ext cx="415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b="1" dirty="0" smtClean="0">
                <a:solidFill>
                  <a:srgbClr val="FF0000"/>
                </a:solidFill>
              </a:rPr>
              <a:t>ⓛ</a:t>
            </a:r>
            <a:endParaRPr lang="ko-KR" altLang="en-US" b="1" dirty="0">
              <a:solidFill>
                <a:srgbClr val="FF0000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-60806" y="3491716"/>
            <a:ext cx="415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b="1" dirty="0" smtClean="0">
                <a:solidFill>
                  <a:srgbClr val="FF0000"/>
                </a:solidFill>
              </a:rPr>
              <a:t>②</a:t>
            </a:r>
            <a:endParaRPr lang="ko-KR" altLang="en-US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92205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4pgSRgRUqCa_pKSGB0v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4pgSRgRUqCa_pKSGB0v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4pgSRgRUqCa_pKSGB0v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4pgSRgRUqCa_pKSGB0vQ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3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4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451</TotalTime>
  <Words>50</Words>
  <Application>Microsoft Office PowerPoint</Application>
  <PresentationFormat>A4 용지(210x297mm)</PresentationFormat>
  <Paragraphs>12</Paragraphs>
  <Slides>4</Slides>
  <Notes>0</Notes>
  <HiddenSlides>0</HiddenSlides>
  <MMClips>0</MMClips>
  <ScaleCrop>false</ScaleCrop>
  <HeadingPairs>
    <vt:vector size="6" baseType="variant">
      <vt:variant>
        <vt:lpstr>사용한 글꼴</vt:lpstr>
      </vt:variant>
      <vt:variant>
        <vt:i4>5</vt:i4>
      </vt:variant>
      <vt:variant>
        <vt:lpstr>테마</vt:lpstr>
      </vt:variant>
      <vt:variant>
        <vt:i4>5</vt:i4>
      </vt:variant>
      <vt:variant>
        <vt:lpstr>슬라이드 제목</vt:lpstr>
      </vt:variant>
      <vt:variant>
        <vt:i4>4</vt:i4>
      </vt:variant>
    </vt:vector>
  </HeadingPairs>
  <TitlesOfParts>
    <vt:vector size="14" baseType="lpstr">
      <vt:lpstr>LG스마트체 Regular</vt:lpstr>
      <vt:lpstr>맑은 고딕</vt:lpstr>
      <vt:lpstr>Arial</vt:lpstr>
      <vt:lpstr>Arial Narrow</vt:lpstr>
      <vt:lpstr>Wingdings</vt:lpstr>
      <vt:lpstr>Office 테마</vt:lpstr>
      <vt:lpstr>2_디자인 사용자 지정</vt:lpstr>
      <vt:lpstr>1_디자인 사용자 지정</vt:lpstr>
      <vt:lpstr>3_디자인 사용자 지정</vt:lpstr>
      <vt:lpstr>4_디자인 사용자 지정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배희정/선임/에어솔루션HR팀(heejeong.bae@lge.com)</dc:creator>
  <cp:lastModifiedBy>윤성민/선임/H&amp;A인재육성팀(seongmin.yoon@lge.com)</cp:lastModifiedBy>
  <cp:revision>184</cp:revision>
  <cp:lastPrinted>2020-08-10T04:20:49Z</cp:lastPrinted>
  <dcterms:created xsi:type="dcterms:W3CDTF">2020-01-07T06:56:49Z</dcterms:created>
  <dcterms:modified xsi:type="dcterms:W3CDTF">2023-02-10T02:31:06Z</dcterms:modified>
</cp:coreProperties>
</file>